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4"/>
  </p:sldMasterIdLst>
  <p:notesMasterIdLst>
    <p:notesMasterId r:id="rId16"/>
  </p:notesMasterIdLst>
  <p:handoutMasterIdLst>
    <p:handoutMasterId r:id="rId17"/>
  </p:handoutMasterIdLst>
  <p:sldIdLst>
    <p:sldId id="323" r:id="rId5"/>
    <p:sldId id="377" r:id="rId6"/>
    <p:sldId id="337" r:id="rId7"/>
    <p:sldId id="369" r:id="rId8"/>
    <p:sldId id="370" r:id="rId9"/>
    <p:sldId id="371" r:id="rId10"/>
    <p:sldId id="372" r:id="rId11"/>
    <p:sldId id="373" r:id="rId12"/>
    <p:sldId id="374" r:id="rId13"/>
    <p:sldId id="375" r:id="rId14"/>
    <p:sldId id="37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E6E1"/>
    <a:srgbClr val="FFCCCC"/>
    <a:srgbClr val="D8D8D8"/>
    <a:srgbClr val="FFFFFF"/>
    <a:srgbClr val="2800FF"/>
    <a:srgbClr val="00BAFF"/>
    <a:srgbClr val="00FF7D"/>
    <a:srgbClr val="00F3FF"/>
    <a:srgbClr val="FFB600"/>
    <a:srgbClr val="FFEA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8A7D89-50AB-4D60-824F-A6BC6DAE2420}" v="24" dt="2020-04-06T18:22:56.2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1" autoAdjust="0"/>
    <p:restoredTop sz="94318" autoAdjust="0"/>
  </p:normalViewPr>
  <p:slideViewPr>
    <p:cSldViewPr snapToGrid="0">
      <p:cViewPr varScale="1">
        <p:scale>
          <a:sx n="89" d="100"/>
          <a:sy n="89" d="100"/>
        </p:scale>
        <p:origin x="46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22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jith Kumar A M" userId="ad2fe987-ecc9-4ed9-859c-abe986bc5413" providerId="ADAL" clId="{0C8A7D89-50AB-4D60-824F-A6BC6DAE2420}"/>
    <pc:docChg chg="undo custSel modSld">
      <pc:chgData name="Ajith Kumar A M" userId="ad2fe987-ecc9-4ed9-859c-abe986bc5413" providerId="ADAL" clId="{0C8A7D89-50AB-4D60-824F-A6BC6DAE2420}" dt="2020-04-05T17:37:06.121" v="829" actId="20577"/>
      <pc:docMkLst>
        <pc:docMk/>
      </pc:docMkLst>
      <pc:sldChg chg="addSp modSp">
        <pc:chgData name="Ajith Kumar A M" userId="ad2fe987-ecc9-4ed9-859c-abe986bc5413" providerId="ADAL" clId="{0C8A7D89-50AB-4D60-824F-A6BC6DAE2420}" dt="2020-04-05T17:27:31.947" v="573" actId="14"/>
        <pc:sldMkLst>
          <pc:docMk/>
          <pc:sldMk cId="842525130" sldId="338"/>
        </pc:sldMkLst>
        <pc:spChg chg="mod">
          <ac:chgData name="Ajith Kumar A M" userId="ad2fe987-ecc9-4ed9-859c-abe986bc5413" providerId="ADAL" clId="{0C8A7D89-50AB-4D60-824F-A6BC6DAE2420}" dt="2020-04-05T17:24:51.300" v="501"/>
          <ac:spMkLst>
            <pc:docMk/>
            <pc:sldMk cId="842525130" sldId="338"/>
            <ac:spMk id="2" creationId="{3F157AD6-11E3-4E48-A045-D1455EB71B24}"/>
          </ac:spMkLst>
        </pc:spChg>
        <pc:spChg chg="mod">
          <ac:chgData name="Ajith Kumar A M" userId="ad2fe987-ecc9-4ed9-859c-abe986bc5413" providerId="ADAL" clId="{0C8A7D89-50AB-4D60-824F-A6BC6DAE2420}" dt="2020-04-05T17:26:32.034" v="572" actId="6549"/>
          <ac:spMkLst>
            <pc:docMk/>
            <pc:sldMk cId="842525130" sldId="338"/>
            <ac:spMk id="4" creationId="{01EB27EF-DB5E-442B-A36D-E78F4F9A9AD4}"/>
          </ac:spMkLst>
        </pc:spChg>
        <pc:spChg chg="add mod">
          <ac:chgData name="Ajith Kumar A M" userId="ad2fe987-ecc9-4ed9-859c-abe986bc5413" providerId="ADAL" clId="{0C8A7D89-50AB-4D60-824F-A6BC6DAE2420}" dt="2020-04-05T17:27:31.947" v="573" actId="14"/>
          <ac:spMkLst>
            <pc:docMk/>
            <pc:sldMk cId="842525130" sldId="338"/>
            <ac:spMk id="5" creationId="{6C3FA47C-A1FB-4A73-8538-3A2718170C70}"/>
          </ac:spMkLst>
        </pc:spChg>
      </pc:sldChg>
      <pc:sldChg chg="delSp modSp">
        <pc:chgData name="Ajith Kumar A M" userId="ad2fe987-ecc9-4ed9-859c-abe986bc5413" providerId="ADAL" clId="{0C8A7D89-50AB-4D60-824F-A6BC6DAE2420}" dt="2020-04-05T17:06:22.688" v="1" actId="1076"/>
        <pc:sldMkLst>
          <pc:docMk/>
          <pc:sldMk cId="3296578834" sldId="355"/>
        </pc:sldMkLst>
        <pc:spChg chg="mod">
          <ac:chgData name="Ajith Kumar A M" userId="ad2fe987-ecc9-4ed9-859c-abe986bc5413" providerId="ADAL" clId="{0C8A7D89-50AB-4D60-824F-A6BC6DAE2420}" dt="2020-04-05T17:06:22.688" v="1" actId="1076"/>
          <ac:spMkLst>
            <pc:docMk/>
            <pc:sldMk cId="3296578834" sldId="355"/>
            <ac:spMk id="6" creationId="{0064CEFE-1137-46BF-9FBD-64524B8B091E}"/>
          </ac:spMkLst>
        </pc:spChg>
        <pc:spChg chg="mod">
          <ac:chgData name="Ajith Kumar A M" userId="ad2fe987-ecc9-4ed9-859c-abe986bc5413" providerId="ADAL" clId="{0C8A7D89-50AB-4D60-824F-A6BC6DAE2420}" dt="2020-04-05T17:06:22.688" v="1" actId="1076"/>
          <ac:spMkLst>
            <pc:docMk/>
            <pc:sldMk cId="3296578834" sldId="355"/>
            <ac:spMk id="7" creationId="{007A4772-BB07-432D-87E3-DAAE7C6444FE}"/>
          </ac:spMkLst>
        </pc:spChg>
        <pc:spChg chg="del">
          <ac:chgData name="Ajith Kumar A M" userId="ad2fe987-ecc9-4ed9-859c-abe986bc5413" providerId="ADAL" clId="{0C8A7D89-50AB-4D60-824F-A6BC6DAE2420}" dt="2020-04-05T17:06:12.118" v="0" actId="478"/>
          <ac:spMkLst>
            <pc:docMk/>
            <pc:sldMk cId="3296578834" sldId="355"/>
            <ac:spMk id="8" creationId="{417AE190-ADEC-4110-88C9-62CE94B57827}"/>
          </ac:spMkLst>
        </pc:spChg>
        <pc:spChg chg="mod">
          <ac:chgData name="Ajith Kumar A M" userId="ad2fe987-ecc9-4ed9-859c-abe986bc5413" providerId="ADAL" clId="{0C8A7D89-50AB-4D60-824F-A6BC6DAE2420}" dt="2020-04-05T17:06:22.688" v="1" actId="1076"/>
          <ac:spMkLst>
            <pc:docMk/>
            <pc:sldMk cId="3296578834" sldId="355"/>
            <ac:spMk id="9" creationId="{7758A283-662E-4635-911E-8DE8EB8429EE}"/>
          </ac:spMkLst>
        </pc:spChg>
      </pc:sldChg>
      <pc:sldChg chg="modSp">
        <pc:chgData name="Ajith Kumar A M" userId="ad2fe987-ecc9-4ed9-859c-abe986bc5413" providerId="ADAL" clId="{0C8A7D89-50AB-4D60-824F-A6BC6DAE2420}" dt="2020-04-05T17:37:06.121" v="829" actId="20577"/>
        <pc:sldMkLst>
          <pc:docMk/>
          <pc:sldMk cId="1904212264" sldId="362"/>
        </pc:sldMkLst>
        <pc:spChg chg="mod">
          <ac:chgData name="Ajith Kumar A M" userId="ad2fe987-ecc9-4ed9-859c-abe986bc5413" providerId="ADAL" clId="{0C8A7D89-50AB-4D60-824F-A6BC6DAE2420}" dt="2020-04-05T17:37:06.121" v="829" actId="20577"/>
          <ac:spMkLst>
            <pc:docMk/>
            <pc:sldMk cId="1904212264" sldId="362"/>
            <ac:spMk id="2" creationId="{963778A0-58AD-4A3F-8803-15234899CF42}"/>
          </ac:spMkLst>
        </pc:spChg>
        <pc:spChg chg="mod">
          <ac:chgData name="Ajith Kumar A M" userId="ad2fe987-ecc9-4ed9-859c-abe986bc5413" providerId="ADAL" clId="{0C8A7D89-50AB-4D60-824F-A6BC6DAE2420}" dt="2020-04-05T17:36:39.212" v="817" actId="20577"/>
          <ac:spMkLst>
            <pc:docMk/>
            <pc:sldMk cId="1904212264" sldId="362"/>
            <ac:spMk id="3" creationId="{CD5C6083-6D64-49DA-9D2B-8D5876AA0E72}"/>
          </ac:spMkLst>
        </pc:spChg>
      </pc:sldChg>
      <pc:sldChg chg="modSp">
        <pc:chgData name="Ajith Kumar A M" userId="ad2fe987-ecc9-4ed9-859c-abe986bc5413" providerId="ADAL" clId="{0C8A7D89-50AB-4D60-824F-A6BC6DAE2420}" dt="2020-04-05T17:22:23.522" v="284" actId="113"/>
        <pc:sldMkLst>
          <pc:docMk/>
          <pc:sldMk cId="3800405843" sldId="367"/>
        </pc:sldMkLst>
        <pc:spChg chg="mod">
          <ac:chgData name="Ajith Kumar A M" userId="ad2fe987-ecc9-4ed9-859c-abe986bc5413" providerId="ADAL" clId="{0C8A7D89-50AB-4D60-824F-A6BC6DAE2420}" dt="2020-04-05T17:19:03.706" v="221" actId="1076"/>
          <ac:spMkLst>
            <pc:docMk/>
            <pc:sldMk cId="3800405843" sldId="367"/>
            <ac:spMk id="6" creationId="{F2ECD54D-5C8D-49AD-A425-C4CB5CB2C93F}"/>
          </ac:spMkLst>
        </pc:spChg>
        <pc:spChg chg="mod">
          <ac:chgData name="Ajith Kumar A M" userId="ad2fe987-ecc9-4ed9-859c-abe986bc5413" providerId="ADAL" clId="{0C8A7D89-50AB-4D60-824F-A6BC6DAE2420}" dt="2020-04-05T17:09:35.022" v="58" actId="6549"/>
          <ac:spMkLst>
            <pc:docMk/>
            <pc:sldMk cId="3800405843" sldId="367"/>
            <ac:spMk id="7" creationId="{10A19BCC-7DC1-4E85-A60C-4723386A5935}"/>
          </ac:spMkLst>
        </pc:spChg>
        <pc:spChg chg="mod">
          <ac:chgData name="Ajith Kumar A M" userId="ad2fe987-ecc9-4ed9-859c-abe986bc5413" providerId="ADAL" clId="{0C8A7D89-50AB-4D60-824F-A6BC6DAE2420}" dt="2020-04-05T17:22:18.122" v="283" actId="113"/>
          <ac:spMkLst>
            <pc:docMk/>
            <pc:sldMk cId="3800405843" sldId="367"/>
            <ac:spMk id="9" creationId="{CC70D1F4-E6DE-424F-B7CF-B0D691E2CA4F}"/>
          </ac:spMkLst>
        </pc:spChg>
        <pc:spChg chg="mod">
          <ac:chgData name="Ajith Kumar A M" userId="ad2fe987-ecc9-4ed9-859c-abe986bc5413" providerId="ADAL" clId="{0C8A7D89-50AB-4D60-824F-A6BC6DAE2420}" dt="2020-04-05T17:22:23.522" v="284" actId="113"/>
          <ac:spMkLst>
            <pc:docMk/>
            <pc:sldMk cId="3800405843" sldId="367"/>
            <ac:spMk id="10" creationId="{91653A6A-C5A8-42AE-84CB-46112987A084}"/>
          </ac:spMkLst>
        </pc:spChg>
        <pc:spChg chg="mod">
          <ac:chgData name="Ajith Kumar A M" userId="ad2fe987-ecc9-4ed9-859c-abe986bc5413" providerId="ADAL" clId="{0C8A7D89-50AB-4D60-824F-A6BC6DAE2420}" dt="2020-04-05T17:22:02.763" v="280" actId="113"/>
          <ac:spMkLst>
            <pc:docMk/>
            <pc:sldMk cId="3800405843" sldId="367"/>
            <ac:spMk id="11" creationId="{F3E43FD2-BD0C-49C4-A376-55552BC2386A}"/>
          </ac:spMkLst>
        </pc:spChg>
        <pc:spChg chg="mod">
          <ac:chgData name="Ajith Kumar A M" userId="ad2fe987-ecc9-4ed9-859c-abe986bc5413" providerId="ADAL" clId="{0C8A7D89-50AB-4D60-824F-A6BC6DAE2420}" dt="2020-04-05T17:22:05.073" v="281" actId="113"/>
          <ac:spMkLst>
            <pc:docMk/>
            <pc:sldMk cId="3800405843" sldId="367"/>
            <ac:spMk id="12" creationId="{FB51A704-1EF3-4AAA-9FE5-29136C2E9407}"/>
          </ac:spMkLst>
        </pc:spChg>
        <pc:spChg chg="mod">
          <ac:chgData name="Ajith Kumar A M" userId="ad2fe987-ecc9-4ed9-859c-abe986bc5413" providerId="ADAL" clId="{0C8A7D89-50AB-4D60-824F-A6BC6DAE2420}" dt="2020-04-05T17:10:17.091" v="61" actId="6549"/>
          <ac:spMkLst>
            <pc:docMk/>
            <pc:sldMk cId="3800405843" sldId="367"/>
            <ac:spMk id="16" creationId="{1908E0FD-EA83-478D-B59D-3569F14245CC}"/>
          </ac:spMkLst>
        </pc:spChg>
      </pc:sldChg>
    </pc:docChg>
  </pc:docChgLst>
  <pc:docChgLst>
    <pc:chgData name="A M, Ajith Kumar" userId="ad2fe987-ecc9-4ed9-859c-abe986bc5413" providerId="ADAL" clId="{0C8A7D89-50AB-4D60-824F-A6BC6DAE2420}"/>
    <pc:docChg chg="custSel modSld">
      <pc:chgData name="A M, Ajith Kumar" userId="ad2fe987-ecc9-4ed9-859c-abe986bc5413" providerId="ADAL" clId="{0C8A7D89-50AB-4D60-824F-A6BC6DAE2420}" dt="2020-04-06T18:23:33.430" v="654" actId="20577"/>
      <pc:docMkLst>
        <pc:docMk/>
      </pc:docMkLst>
      <pc:sldChg chg="modSp">
        <pc:chgData name="A M, Ajith Kumar" userId="ad2fe987-ecc9-4ed9-859c-abe986bc5413" providerId="ADAL" clId="{0C8A7D89-50AB-4D60-824F-A6BC6DAE2420}" dt="2020-04-06T18:23:33.430" v="654" actId="20577"/>
        <pc:sldMkLst>
          <pc:docMk/>
          <pc:sldMk cId="441590932" sldId="324"/>
        </pc:sldMkLst>
        <pc:graphicFrameChg chg="mod modGraphic">
          <ac:chgData name="A M, Ajith Kumar" userId="ad2fe987-ecc9-4ed9-859c-abe986bc5413" providerId="ADAL" clId="{0C8A7D89-50AB-4D60-824F-A6BC6DAE2420}" dt="2020-04-06T18:23:33.430" v="654" actId="20577"/>
          <ac:graphicFrameMkLst>
            <pc:docMk/>
            <pc:sldMk cId="441590932" sldId="324"/>
            <ac:graphicFrameMk id="4" creationId="{88B0C7D9-F8E8-4D4E-8433-499F78607512}"/>
          </ac:graphicFrameMkLst>
        </pc:graphicFrameChg>
      </pc:sldChg>
      <pc:sldChg chg="modSp">
        <pc:chgData name="A M, Ajith Kumar" userId="ad2fe987-ecc9-4ed9-859c-abe986bc5413" providerId="ADAL" clId="{0C8A7D89-50AB-4D60-824F-A6BC6DAE2420}" dt="2020-04-05T20:06:21.510" v="21" actId="5793"/>
        <pc:sldMkLst>
          <pc:docMk/>
          <pc:sldMk cId="1904212264" sldId="362"/>
        </pc:sldMkLst>
        <pc:spChg chg="mod">
          <ac:chgData name="A M, Ajith Kumar" userId="ad2fe987-ecc9-4ed9-859c-abe986bc5413" providerId="ADAL" clId="{0C8A7D89-50AB-4D60-824F-A6BC6DAE2420}" dt="2020-04-05T20:06:21.510" v="21" actId="5793"/>
          <ac:spMkLst>
            <pc:docMk/>
            <pc:sldMk cId="1904212264" sldId="362"/>
            <ac:spMk id="3" creationId="{CD5C6083-6D64-49DA-9D2B-8D5876AA0E72}"/>
          </ac:spMkLst>
        </pc:spChg>
      </pc:sldChg>
      <pc:sldChg chg="addSp modSp">
        <pc:chgData name="A M, Ajith Kumar" userId="ad2fe987-ecc9-4ed9-859c-abe986bc5413" providerId="ADAL" clId="{0C8A7D89-50AB-4D60-824F-A6BC6DAE2420}" dt="2020-04-05T20:17:56.197" v="26" actId="1076"/>
        <pc:sldMkLst>
          <pc:docMk/>
          <pc:sldMk cId="1227227221" sldId="364"/>
        </pc:sldMkLst>
        <pc:picChg chg="add mod">
          <ac:chgData name="A M, Ajith Kumar" userId="ad2fe987-ecc9-4ed9-859c-abe986bc5413" providerId="ADAL" clId="{0C8A7D89-50AB-4D60-824F-A6BC6DAE2420}" dt="2020-04-05T20:17:56.197" v="26" actId="1076"/>
          <ac:picMkLst>
            <pc:docMk/>
            <pc:sldMk cId="1227227221" sldId="364"/>
            <ac:picMk id="2" creationId="{9B5B570F-506D-4550-92F3-A5B502DA9671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/>
              <a:t>5/1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084F-DC83-4EB0-8CED-52E9AA3ECA1C}" type="datetimeFigureOut">
              <a:rPr lang="en-US" smtClean="0"/>
              <a:t>5/1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57E0A-F321-48DC-AF94-681D4DCF34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922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003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7669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76352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5989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744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1131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3376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8474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00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5D0D3C2E-FC67-47ED-90E0-E797B7CC0F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44647"/>
            <a:ext cx="12192000" cy="59869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908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908"/>
                        <a:ext cx="2116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381000" y="410215"/>
            <a:ext cx="2242531" cy="594000"/>
            <a:chOff x="484188" y="452438"/>
            <a:chExt cx="2246313" cy="595312"/>
          </a:xfrm>
        </p:grpSpPr>
        <p:sp>
          <p:nvSpPr>
            <p:cNvPr id="21" name="Freeform 136"/>
            <p:cNvSpPr>
              <a:spLocks/>
            </p:cNvSpPr>
            <p:nvPr userDrawn="1"/>
          </p:nvSpPr>
          <p:spPr bwMode="auto">
            <a:xfrm>
              <a:off x="1793875" y="452438"/>
              <a:ext cx="222250" cy="234950"/>
            </a:xfrm>
            <a:custGeom>
              <a:avLst/>
              <a:gdLst>
                <a:gd name="T0" fmla="*/ 0 w 711"/>
                <a:gd name="T1" fmla="*/ 531 h 753"/>
                <a:gd name="T2" fmla="*/ 415 w 711"/>
                <a:gd name="T3" fmla="*/ 377 h 753"/>
                <a:gd name="T4" fmla="*/ 0 w 711"/>
                <a:gd name="T5" fmla="*/ 215 h 753"/>
                <a:gd name="T6" fmla="*/ 0 w 711"/>
                <a:gd name="T7" fmla="*/ 0 h 753"/>
                <a:gd name="T8" fmla="*/ 711 w 711"/>
                <a:gd name="T9" fmla="*/ 286 h 753"/>
                <a:gd name="T10" fmla="*/ 711 w 711"/>
                <a:gd name="T11" fmla="*/ 465 h 753"/>
                <a:gd name="T12" fmla="*/ 0 w 711"/>
                <a:gd name="T13" fmla="*/ 753 h 753"/>
                <a:gd name="T14" fmla="*/ 0 w 711"/>
                <a:gd name="T15" fmla="*/ 53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1" h="753">
                  <a:moveTo>
                    <a:pt x="0" y="531"/>
                  </a:moveTo>
                  <a:lnTo>
                    <a:pt x="415" y="377"/>
                  </a:lnTo>
                  <a:lnTo>
                    <a:pt x="0" y="215"/>
                  </a:lnTo>
                  <a:lnTo>
                    <a:pt x="0" y="0"/>
                  </a:lnTo>
                  <a:lnTo>
                    <a:pt x="711" y="286"/>
                  </a:lnTo>
                  <a:lnTo>
                    <a:pt x="711" y="465"/>
                  </a:lnTo>
                  <a:lnTo>
                    <a:pt x="0" y="753"/>
                  </a:lnTo>
                  <a:lnTo>
                    <a:pt x="0" y="53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  <p:sp>
          <p:nvSpPr>
            <p:cNvPr id="22" name="Freeform 137"/>
            <p:cNvSpPr>
              <a:spLocks noEditPoints="1"/>
            </p:cNvSpPr>
            <p:nvPr userDrawn="1"/>
          </p:nvSpPr>
          <p:spPr bwMode="auto">
            <a:xfrm>
              <a:off x="484188" y="703263"/>
              <a:ext cx="2246313" cy="344487"/>
            </a:xfrm>
            <a:custGeom>
              <a:avLst/>
              <a:gdLst>
                <a:gd name="T0" fmla="*/ 6834 w 7212"/>
                <a:gd name="T1" fmla="*/ 396 h 1101"/>
                <a:gd name="T2" fmla="*/ 6436 w 7212"/>
                <a:gd name="T3" fmla="*/ 681 h 1101"/>
                <a:gd name="T4" fmla="*/ 7212 w 7212"/>
                <a:gd name="T5" fmla="*/ 626 h 1101"/>
                <a:gd name="T6" fmla="*/ 6845 w 7212"/>
                <a:gd name="T7" fmla="*/ 933 h 1101"/>
                <a:gd name="T8" fmla="*/ 6840 w 7212"/>
                <a:gd name="T9" fmla="*/ 1101 h 1101"/>
                <a:gd name="T10" fmla="*/ 6113 w 7212"/>
                <a:gd name="T11" fmla="*/ 404 h 1101"/>
                <a:gd name="T12" fmla="*/ 6113 w 7212"/>
                <a:gd name="T13" fmla="*/ 656 h 1101"/>
                <a:gd name="T14" fmla="*/ 5881 w 7212"/>
                <a:gd name="T15" fmla="*/ 252 h 1101"/>
                <a:gd name="T16" fmla="*/ 5480 w 7212"/>
                <a:gd name="T17" fmla="*/ 961 h 1101"/>
                <a:gd name="T18" fmla="*/ 4978 w 7212"/>
                <a:gd name="T19" fmla="*/ 252 h 1101"/>
                <a:gd name="T20" fmla="*/ 5333 w 7212"/>
                <a:gd name="T21" fmla="*/ 920 h 1101"/>
                <a:gd name="T22" fmla="*/ 5712 w 7212"/>
                <a:gd name="T23" fmla="*/ 252 h 1101"/>
                <a:gd name="T24" fmla="*/ 4678 w 7212"/>
                <a:gd name="T25" fmla="*/ 252 h 1101"/>
                <a:gd name="T26" fmla="*/ 4678 w 7212"/>
                <a:gd name="T27" fmla="*/ 425 h 1101"/>
                <a:gd name="T28" fmla="*/ 4842 w 7212"/>
                <a:gd name="T29" fmla="*/ 896 h 1101"/>
                <a:gd name="T30" fmla="*/ 4444 w 7212"/>
                <a:gd name="T31" fmla="*/ 843 h 1101"/>
                <a:gd name="T32" fmla="*/ 4347 w 7212"/>
                <a:gd name="T33" fmla="*/ 252 h 1101"/>
                <a:gd name="T34" fmla="*/ 4678 w 7212"/>
                <a:gd name="T35" fmla="*/ 0 h 1101"/>
                <a:gd name="T36" fmla="*/ 3741 w 7212"/>
                <a:gd name="T37" fmla="*/ 376 h 1101"/>
                <a:gd name="T38" fmla="*/ 4243 w 7212"/>
                <a:gd name="T39" fmla="*/ 1084 h 1101"/>
                <a:gd name="T40" fmla="*/ 3887 w 7212"/>
                <a:gd name="T41" fmla="*/ 422 h 1101"/>
                <a:gd name="T42" fmla="*/ 3508 w 7212"/>
                <a:gd name="T43" fmla="*/ 1084 h 1101"/>
                <a:gd name="T44" fmla="*/ 3139 w 7212"/>
                <a:gd name="T45" fmla="*/ 571 h 1101"/>
                <a:gd name="T46" fmla="*/ 2993 w 7212"/>
                <a:gd name="T47" fmla="*/ 1101 h 1101"/>
                <a:gd name="T48" fmla="*/ 2985 w 7212"/>
                <a:gd name="T49" fmla="*/ 234 h 1101"/>
                <a:gd name="T50" fmla="*/ 2824 w 7212"/>
                <a:gd name="T51" fmla="*/ 726 h 1101"/>
                <a:gd name="T52" fmla="*/ 3365 w 7212"/>
                <a:gd name="T53" fmla="*/ 824 h 1101"/>
                <a:gd name="T54" fmla="*/ 1723 w 7212"/>
                <a:gd name="T55" fmla="*/ 676 h 1101"/>
                <a:gd name="T56" fmla="*/ 2487 w 7212"/>
                <a:gd name="T57" fmla="*/ 548 h 1101"/>
                <a:gd name="T58" fmla="*/ 1960 w 7212"/>
                <a:gd name="T59" fmla="*/ 656 h 1101"/>
                <a:gd name="T60" fmla="*/ 2280 w 7212"/>
                <a:gd name="T61" fmla="*/ 777 h 1101"/>
                <a:gd name="T62" fmla="*/ 1255 w 7212"/>
                <a:gd name="T63" fmla="*/ 1101 h 1101"/>
                <a:gd name="T64" fmla="*/ 1257 w 7212"/>
                <a:gd name="T65" fmla="*/ 234 h 1101"/>
                <a:gd name="T66" fmla="*/ 1262 w 7212"/>
                <a:gd name="T67" fmla="*/ 414 h 1101"/>
                <a:gd name="T68" fmla="*/ 1263 w 7212"/>
                <a:gd name="T69" fmla="*/ 926 h 1101"/>
                <a:gd name="T70" fmla="*/ 1255 w 7212"/>
                <a:gd name="T71" fmla="*/ 1101 h 1101"/>
                <a:gd name="T72" fmla="*/ 404 w 7212"/>
                <a:gd name="T73" fmla="*/ 727 h 1101"/>
                <a:gd name="T74" fmla="*/ 344 w 7212"/>
                <a:gd name="T75" fmla="*/ 939 h 1101"/>
                <a:gd name="T76" fmla="*/ 0 w 7212"/>
                <a:gd name="T77" fmla="*/ 856 h 1101"/>
                <a:gd name="T78" fmla="*/ 496 w 7212"/>
                <a:gd name="T79" fmla="*/ 575 h 1101"/>
                <a:gd name="T80" fmla="*/ 248 w 7212"/>
                <a:gd name="T81" fmla="*/ 509 h 1101"/>
                <a:gd name="T82" fmla="*/ 729 w 7212"/>
                <a:gd name="T83" fmla="*/ 527 h 1101"/>
                <a:gd name="T84" fmla="*/ 501 w 7212"/>
                <a:gd name="T85" fmla="*/ 988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12" h="1101">
                  <a:moveTo>
                    <a:pt x="6674" y="571"/>
                  </a:moveTo>
                  <a:lnTo>
                    <a:pt x="6986" y="571"/>
                  </a:lnTo>
                  <a:cubicBezTo>
                    <a:pt x="6981" y="449"/>
                    <a:pt x="6926" y="396"/>
                    <a:pt x="6834" y="396"/>
                  </a:cubicBezTo>
                  <a:cubicBezTo>
                    <a:pt x="6760" y="396"/>
                    <a:pt x="6694" y="436"/>
                    <a:pt x="6674" y="571"/>
                  </a:cubicBezTo>
                  <a:close/>
                  <a:moveTo>
                    <a:pt x="6840" y="1101"/>
                  </a:moveTo>
                  <a:cubicBezTo>
                    <a:pt x="6600" y="1101"/>
                    <a:pt x="6436" y="958"/>
                    <a:pt x="6436" y="681"/>
                  </a:cubicBezTo>
                  <a:lnTo>
                    <a:pt x="6436" y="665"/>
                  </a:lnTo>
                  <a:cubicBezTo>
                    <a:pt x="6436" y="387"/>
                    <a:pt x="6609" y="234"/>
                    <a:pt x="6832" y="234"/>
                  </a:cubicBezTo>
                  <a:cubicBezTo>
                    <a:pt x="7039" y="234"/>
                    <a:pt x="7212" y="350"/>
                    <a:pt x="7212" y="626"/>
                  </a:cubicBezTo>
                  <a:lnTo>
                    <a:pt x="7212" y="726"/>
                  </a:lnTo>
                  <a:lnTo>
                    <a:pt x="6671" y="726"/>
                  </a:lnTo>
                  <a:cubicBezTo>
                    <a:pt x="6681" y="875"/>
                    <a:pt x="6744" y="933"/>
                    <a:pt x="6845" y="933"/>
                  </a:cubicBezTo>
                  <a:cubicBezTo>
                    <a:pt x="6934" y="933"/>
                    <a:pt x="6981" y="885"/>
                    <a:pt x="6997" y="824"/>
                  </a:cubicBezTo>
                  <a:lnTo>
                    <a:pt x="7212" y="824"/>
                  </a:lnTo>
                  <a:cubicBezTo>
                    <a:pt x="7187" y="982"/>
                    <a:pt x="7058" y="1101"/>
                    <a:pt x="6840" y="1101"/>
                  </a:cubicBezTo>
                  <a:close/>
                  <a:moveTo>
                    <a:pt x="5881" y="252"/>
                  </a:moveTo>
                  <a:lnTo>
                    <a:pt x="6113" y="252"/>
                  </a:lnTo>
                  <a:lnTo>
                    <a:pt x="6113" y="404"/>
                  </a:lnTo>
                  <a:cubicBezTo>
                    <a:pt x="6162" y="293"/>
                    <a:pt x="6240" y="241"/>
                    <a:pt x="6363" y="241"/>
                  </a:cubicBezTo>
                  <a:lnTo>
                    <a:pt x="6363" y="470"/>
                  </a:lnTo>
                  <a:cubicBezTo>
                    <a:pt x="6205" y="470"/>
                    <a:pt x="6113" y="517"/>
                    <a:pt x="6113" y="656"/>
                  </a:cubicBezTo>
                  <a:lnTo>
                    <a:pt x="6113" y="1084"/>
                  </a:lnTo>
                  <a:lnTo>
                    <a:pt x="5881" y="1084"/>
                  </a:lnTo>
                  <a:lnTo>
                    <a:pt x="5881" y="252"/>
                  </a:lnTo>
                  <a:close/>
                  <a:moveTo>
                    <a:pt x="5712" y="1084"/>
                  </a:moveTo>
                  <a:lnTo>
                    <a:pt x="5480" y="1084"/>
                  </a:lnTo>
                  <a:lnTo>
                    <a:pt x="5480" y="961"/>
                  </a:lnTo>
                  <a:cubicBezTo>
                    <a:pt x="5440" y="1041"/>
                    <a:pt x="5362" y="1101"/>
                    <a:pt x="5238" y="1101"/>
                  </a:cubicBezTo>
                  <a:cubicBezTo>
                    <a:pt x="5088" y="1101"/>
                    <a:pt x="4978" y="1010"/>
                    <a:pt x="4978" y="815"/>
                  </a:cubicBezTo>
                  <a:lnTo>
                    <a:pt x="4978" y="252"/>
                  </a:lnTo>
                  <a:lnTo>
                    <a:pt x="5212" y="252"/>
                  </a:lnTo>
                  <a:lnTo>
                    <a:pt x="5212" y="780"/>
                  </a:lnTo>
                  <a:cubicBezTo>
                    <a:pt x="5212" y="875"/>
                    <a:pt x="5250" y="920"/>
                    <a:pt x="5333" y="920"/>
                  </a:cubicBezTo>
                  <a:cubicBezTo>
                    <a:pt x="5414" y="920"/>
                    <a:pt x="5480" y="869"/>
                    <a:pt x="5480" y="766"/>
                  </a:cubicBezTo>
                  <a:lnTo>
                    <a:pt x="5480" y="252"/>
                  </a:lnTo>
                  <a:lnTo>
                    <a:pt x="5712" y="252"/>
                  </a:lnTo>
                  <a:lnTo>
                    <a:pt x="5712" y="1084"/>
                  </a:lnTo>
                  <a:close/>
                  <a:moveTo>
                    <a:pt x="4678" y="0"/>
                  </a:moveTo>
                  <a:lnTo>
                    <a:pt x="4678" y="252"/>
                  </a:lnTo>
                  <a:lnTo>
                    <a:pt x="4837" y="252"/>
                  </a:lnTo>
                  <a:lnTo>
                    <a:pt x="4837" y="425"/>
                  </a:lnTo>
                  <a:lnTo>
                    <a:pt x="4678" y="425"/>
                  </a:lnTo>
                  <a:lnTo>
                    <a:pt x="4678" y="820"/>
                  </a:lnTo>
                  <a:cubicBezTo>
                    <a:pt x="4678" y="882"/>
                    <a:pt x="4706" y="910"/>
                    <a:pt x="4760" y="910"/>
                  </a:cubicBezTo>
                  <a:cubicBezTo>
                    <a:pt x="4794" y="910"/>
                    <a:pt x="4819" y="906"/>
                    <a:pt x="4842" y="896"/>
                  </a:cubicBezTo>
                  <a:lnTo>
                    <a:pt x="4842" y="1077"/>
                  </a:lnTo>
                  <a:cubicBezTo>
                    <a:pt x="4815" y="1085"/>
                    <a:pt x="4768" y="1095"/>
                    <a:pt x="4711" y="1095"/>
                  </a:cubicBezTo>
                  <a:cubicBezTo>
                    <a:pt x="4530" y="1095"/>
                    <a:pt x="4444" y="1012"/>
                    <a:pt x="4444" y="843"/>
                  </a:cubicBezTo>
                  <a:lnTo>
                    <a:pt x="4444" y="425"/>
                  </a:lnTo>
                  <a:lnTo>
                    <a:pt x="4347" y="425"/>
                  </a:lnTo>
                  <a:lnTo>
                    <a:pt x="4347" y="252"/>
                  </a:lnTo>
                  <a:lnTo>
                    <a:pt x="4444" y="252"/>
                  </a:lnTo>
                  <a:lnTo>
                    <a:pt x="4444" y="96"/>
                  </a:lnTo>
                  <a:lnTo>
                    <a:pt x="4678" y="0"/>
                  </a:lnTo>
                  <a:close/>
                  <a:moveTo>
                    <a:pt x="3508" y="252"/>
                  </a:moveTo>
                  <a:lnTo>
                    <a:pt x="3741" y="252"/>
                  </a:lnTo>
                  <a:lnTo>
                    <a:pt x="3741" y="376"/>
                  </a:lnTo>
                  <a:cubicBezTo>
                    <a:pt x="3782" y="298"/>
                    <a:pt x="3865" y="234"/>
                    <a:pt x="3992" y="234"/>
                  </a:cubicBezTo>
                  <a:cubicBezTo>
                    <a:pt x="4143" y="234"/>
                    <a:pt x="4243" y="325"/>
                    <a:pt x="4243" y="527"/>
                  </a:cubicBezTo>
                  <a:lnTo>
                    <a:pt x="4243" y="1084"/>
                  </a:lnTo>
                  <a:lnTo>
                    <a:pt x="4011" y="1084"/>
                  </a:lnTo>
                  <a:lnTo>
                    <a:pt x="4011" y="562"/>
                  </a:lnTo>
                  <a:cubicBezTo>
                    <a:pt x="4011" y="465"/>
                    <a:pt x="3971" y="422"/>
                    <a:pt x="3887" y="422"/>
                  </a:cubicBezTo>
                  <a:cubicBezTo>
                    <a:pt x="3806" y="422"/>
                    <a:pt x="3741" y="471"/>
                    <a:pt x="3741" y="576"/>
                  </a:cubicBezTo>
                  <a:lnTo>
                    <a:pt x="3741" y="1084"/>
                  </a:lnTo>
                  <a:lnTo>
                    <a:pt x="3508" y="1084"/>
                  </a:lnTo>
                  <a:lnTo>
                    <a:pt x="3508" y="252"/>
                  </a:lnTo>
                  <a:close/>
                  <a:moveTo>
                    <a:pt x="2827" y="571"/>
                  </a:moveTo>
                  <a:lnTo>
                    <a:pt x="3139" y="571"/>
                  </a:lnTo>
                  <a:cubicBezTo>
                    <a:pt x="3134" y="449"/>
                    <a:pt x="3079" y="396"/>
                    <a:pt x="2986" y="396"/>
                  </a:cubicBezTo>
                  <a:cubicBezTo>
                    <a:pt x="2913" y="396"/>
                    <a:pt x="2846" y="436"/>
                    <a:pt x="2827" y="571"/>
                  </a:cubicBezTo>
                  <a:close/>
                  <a:moveTo>
                    <a:pt x="2993" y="1101"/>
                  </a:moveTo>
                  <a:cubicBezTo>
                    <a:pt x="2753" y="1101"/>
                    <a:pt x="2589" y="958"/>
                    <a:pt x="2589" y="681"/>
                  </a:cubicBezTo>
                  <a:lnTo>
                    <a:pt x="2589" y="665"/>
                  </a:lnTo>
                  <a:cubicBezTo>
                    <a:pt x="2589" y="387"/>
                    <a:pt x="2762" y="234"/>
                    <a:pt x="2985" y="234"/>
                  </a:cubicBezTo>
                  <a:cubicBezTo>
                    <a:pt x="3192" y="234"/>
                    <a:pt x="3365" y="350"/>
                    <a:pt x="3365" y="626"/>
                  </a:cubicBezTo>
                  <a:lnTo>
                    <a:pt x="3365" y="726"/>
                  </a:lnTo>
                  <a:lnTo>
                    <a:pt x="2824" y="726"/>
                  </a:lnTo>
                  <a:cubicBezTo>
                    <a:pt x="2834" y="875"/>
                    <a:pt x="2897" y="933"/>
                    <a:pt x="2998" y="933"/>
                  </a:cubicBezTo>
                  <a:cubicBezTo>
                    <a:pt x="3087" y="933"/>
                    <a:pt x="3134" y="885"/>
                    <a:pt x="3150" y="824"/>
                  </a:cubicBezTo>
                  <a:lnTo>
                    <a:pt x="3365" y="824"/>
                  </a:lnTo>
                  <a:cubicBezTo>
                    <a:pt x="3340" y="982"/>
                    <a:pt x="3211" y="1101"/>
                    <a:pt x="2993" y="1101"/>
                  </a:cubicBezTo>
                  <a:close/>
                  <a:moveTo>
                    <a:pt x="2121" y="1101"/>
                  </a:moveTo>
                  <a:cubicBezTo>
                    <a:pt x="1890" y="1101"/>
                    <a:pt x="1723" y="958"/>
                    <a:pt x="1723" y="676"/>
                  </a:cubicBezTo>
                  <a:lnTo>
                    <a:pt x="1723" y="665"/>
                  </a:lnTo>
                  <a:cubicBezTo>
                    <a:pt x="1723" y="384"/>
                    <a:pt x="1901" y="234"/>
                    <a:pt x="2122" y="234"/>
                  </a:cubicBezTo>
                  <a:cubicBezTo>
                    <a:pt x="2312" y="234"/>
                    <a:pt x="2468" y="330"/>
                    <a:pt x="2487" y="548"/>
                  </a:cubicBezTo>
                  <a:lnTo>
                    <a:pt x="2264" y="548"/>
                  </a:lnTo>
                  <a:cubicBezTo>
                    <a:pt x="2250" y="466"/>
                    <a:pt x="2208" y="414"/>
                    <a:pt x="2127" y="414"/>
                  </a:cubicBezTo>
                  <a:cubicBezTo>
                    <a:pt x="2029" y="414"/>
                    <a:pt x="1960" y="492"/>
                    <a:pt x="1960" y="656"/>
                  </a:cubicBezTo>
                  <a:lnTo>
                    <a:pt x="1960" y="681"/>
                  </a:lnTo>
                  <a:cubicBezTo>
                    <a:pt x="1960" y="850"/>
                    <a:pt x="2021" y="926"/>
                    <a:pt x="2129" y="926"/>
                  </a:cubicBezTo>
                  <a:cubicBezTo>
                    <a:pt x="2208" y="926"/>
                    <a:pt x="2267" y="867"/>
                    <a:pt x="2280" y="777"/>
                  </a:cubicBezTo>
                  <a:lnTo>
                    <a:pt x="2492" y="777"/>
                  </a:lnTo>
                  <a:cubicBezTo>
                    <a:pt x="2476" y="966"/>
                    <a:pt x="2347" y="1101"/>
                    <a:pt x="2121" y="1101"/>
                  </a:cubicBezTo>
                  <a:close/>
                  <a:moveTo>
                    <a:pt x="1255" y="1101"/>
                  </a:moveTo>
                  <a:cubicBezTo>
                    <a:pt x="1025" y="1101"/>
                    <a:pt x="858" y="958"/>
                    <a:pt x="858" y="676"/>
                  </a:cubicBezTo>
                  <a:lnTo>
                    <a:pt x="858" y="665"/>
                  </a:lnTo>
                  <a:cubicBezTo>
                    <a:pt x="858" y="384"/>
                    <a:pt x="1036" y="234"/>
                    <a:pt x="1257" y="234"/>
                  </a:cubicBezTo>
                  <a:cubicBezTo>
                    <a:pt x="1446" y="234"/>
                    <a:pt x="1602" y="330"/>
                    <a:pt x="1621" y="548"/>
                  </a:cubicBezTo>
                  <a:lnTo>
                    <a:pt x="1399" y="548"/>
                  </a:lnTo>
                  <a:cubicBezTo>
                    <a:pt x="1384" y="466"/>
                    <a:pt x="1343" y="414"/>
                    <a:pt x="1262" y="414"/>
                  </a:cubicBezTo>
                  <a:cubicBezTo>
                    <a:pt x="1163" y="414"/>
                    <a:pt x="1095" y="492"/>
                    <a:pt x="1095" y="656"/>
                  </a:cubicBezTo>
                  <a:lnTo>
                    <a:pt x="1095" y="681"/>
                  </a:lnTo>
                  <a:cubicBezTo>
                    <a:pt x="1095" y="850"/>
                    <a:pt x="1155" y="926"/>
                    <a:pt x="1263" y="926"/>
                  </a:cubicBezTo>
                  <a:cubicBezTo>
                    <a:pt x="1343" y="926"/>
                    <a:pt x="1402" y="867"/>
                    <a:pt x="1414" y="777"/>
                  </a:cubicBezTo>
                  <a:lnTo>
                    <a:pt x="1626" y="777"/>
                  </a:lnTo>
                  <a:cubicBezTo>
                    <a:pt x="1610" y="966"/>
                    <a:pt x="1481" y="1101"/>
                    <a:pt x="1255" y="1101"/>
                  </a:cubicBezTo>
                  <a:close/>
                  <a:moveTo>
                    <a:pt x="496" y="807"/>
                  </a:moveTo>
                  <a:lnTo>
                    <a:pt x="496" y="727"/>
                  </a:lnTo>
                  <a:lnTo>
                    <a:pt x="404" y="727"/>
                  </a:lnTo>
                  <a:cubicBezTo>
                    <a:pt x="290" y="727"/>
                    <a:pt x="231" y="759"/>
                    <a:pt x="231" y="834"/>
                  </a:cubicBezTo>
                  <a:lnTo>
                    <a:pt x="231" y="842"/>
                  </a:lnTo>
                  <a:cubicBezTo>
                    <a:pt x="231" y="899"/>
                    <a:pt x="266" y="939"/>
                    <a:pt x="344" y="939"/>
                  </a:cubicBezTo>
                  <a:cubicBezTo>
                    <a:pt x="423" y="939"/>
                    <a:pt x="496" y="894"/>
                    <a:pt x="496" y="807"/>
                  </a:cubicBezTo>
                  <a:close/>
                  <a:moveTo>
                    <a:pt x="274" y="1101"/>
                  </a:moveTo>
                  <a:cubicBezTo>
                    <a:pt x="124" y="1101"/>
                    <a:pt x="0" y="1025"/>
                    <a:pt x="0" y="856"/>
                  </a:cubicBezTo>
                  <a:lnTo>
                    <a:pt x="0" y="847"/>
                  </a:lnTo>
                  <a:cubicBezTo>
                    <a:pt x="0" y="641"/>
                    <a:pt x="178" y="575"/>
                    <a:pt x="393" y="575"/>
                  </a:cubicBezTo>
                  <a:lnTo>
                    <a:pt x="496" y="575"/>
                  </a:lnTo>
                  <a:lnTo>
                    <a:pt x="496" y="535"/>
                  </a:lnTo>
                  <a:cubicBezTo>
                    <a:pt x="496" y="452"/>
                    <a:pt x="460" y="401"/>
                    <a:pt x="374" y="401"/>
                  </a:cubicBezTo>
                  <a:cubicBezTo>
                    <a:pt x="296" y="401"/>
                    <a:pt x="255" y="446"/>
                    <a:pt x="248" y="509"/>
                  </a:cubicBezTo>
                  <a:lnTo>
                    <a:pt x="26" y="509"/>
                  </a:lnTo>
                  <a:cubicBezTo>
                    <a:pt x="41" y="325"/>
                    <a:pt x="188" y="234"/>
                    <a:pt x="385" y="234"/>
                  </a:cubicBezTo>
                  <a:cubicBezTo>
                    <a:pt x="586" y="234"/>
                    <a:pt x="729" y="320"/>
                    <a:pt x="729" y="527"/>
                  </a:cubicBezTo>
                  <a:lnTo>
                    <a:pt x="729" y="1084"/>
                  </a:lnTo>
                  <a:lnTo>
                    <a:pt x="501" y="1084"/>
                  </a:lnTo>
                  <a:lnTo>
                    <a:pt x="501" y="988"/>
                  </a:lnTo>
                  <a:cubicBezTo>
                    <a:pt x="461" y="1049"/>
                    <a:pt x="385" y="1101"/>
                    <a:pt x="274" y="11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80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1C9FD23D-30E8-435F-86B9-25D5CCD17D0A}"/>
              </a:ext>
            </a:extLst>
          </p:cNvPr>
          <p:cNvGrpSpPr/>
          <p:nvPr userDrawn="1"/>
        </p:nvGrpSpPr>
        <p:grpSpPr>
          <a:xfrm>
            <a:off x="3708238" y="1265653"/>
            <a:ext cx="5395287" cy="5514533"/>
            <a:chOff x="6420958" y="734291"/>
            <a:chExt cx="5395287" cy="5514533"/>
          </a:xfrm>
        </p:grpSpPr>
        <p:sp>
          <p:nvSpPr>
            <p:cNvPr id="15" name="Freeform 28">
              <a:extLst>
                <a:ext uri="{FF2B5EF4-FFF2-40B4-BE49-F238E27FC236}">
                  <a16:creationId xmlns="" xmlns:a16="http://schemas.microsoft.com/office/drawing/2014/main" id="{7C7ADC2A-49DD-407B-B29B-36A2D87E9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2928447"/>
              <a:ext cx="5395287" cy="3320377"/>
            </a:xfrm>
            <a:custGeom>
              <a:avLst/>
              <a:gdLst>
                <a:gd name="T0" fmla="*/ 0 w 8964"/>
                <a:gd name="T1" fmla="*/ 5507 h 5507"/>
                <a:gd name="T2" fmla="*/ 0 w 8964"/>
                <a:gd name="T3" fmla="*/ 3495 h 5507"/>
                <a:gd name="T4" fmla="*/ 8964 w 8964"/>
                <a:gd name="T5" fmla="*/ 0 h 5507"/>
                <a:gd name="T6" fmla="*/ 8964 w 8964"/>
                <a:gd name="T7" fmla="*/ 1858 h 5507"/>
                <a:gd name="T8" fmla="*/ 0 w 8964"/>
                <a:gd name="T9" fmla="*/ 5507 h 5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64" h="5507">
                  <a:moveTo>
                    <a:pt x="0" y="5507"/>
                  </a:moveTo>
                  <a:lnTo>
                    <a:pt x="0" y="3495"/>
                  </a:lnTo>
                  <a:lnTo>
                    <a:pt x="8964" y="0"/>
                  </a:lnTo>
                  <a:lnTo>
                    <a:pt x="8964" y="1858"/>
                  </a:lnTo>
                  <a:lnTo>
                    <a:pt x="0" y="5507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5000">
                  <a:schemeClr val="accent3"/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9">
              <a:extLst>
                <a:ext uri="{FF2B5EF4-FFF2-40B4-BE49-F238E27FC236}">
                  <a16:creationId xmlns="" xmlns:a16="http://schemas.microsoft.com/office/drawing/2014/main" id="{6A41381F-91AB-427E-AA9F-3CFA7053E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0958" y="734291"/>
              <a:ext cx="5395287" cy="3315078"/>
            </a:xfrm>
            <a:custGeom>
              <a:avLst/>
              <a:gdLst>
                <a:gd name="T0" fmla="*/ 8964 w 8964"/>
                <a:gd name="T1" fmla="*/ 3640 h 5498"/>
                <a:gd name="T2" fmla="*/ 8964 w 8964"/>
                <a:gd name="T3" fmla="*/ 5498 h 5498"/>
                <a:gd name="T4" fmla="*/ 0 w 8964"/>
                <a:gd name="T5" fmla="*/ 2030 h 5498"/>
                <a:gd name="T6" fmla="*/ 0 w 8964"/>
                <a:gd name="T7" fmla="*/ 0 h 5498"/>
                <a:gd name="T8" fmla="*/ 3 w 8964"/>
                <a:gd name="T9" fmla="*/ 0 h 5498"/>
                <a:gd name="T10" fmla="*/ 8964 w 8964"/>
                <a:gd name="T11" fmla="*/ 3640 h 5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4" h="5498">
                  <a:moveTo>
                    <a:pt x="8964" y="3640"/>
                  </a:moveTo>
                  <a:lnTo>
                    <a:pt x="8964" y="5498"/>
                  </a:lnTo>
                  <a:lnTo>
                    <a:pt x="0" y="2030"/>
                  </a:lnTo>
                  <a:lnTo>
                    <a:pt x="0" y="0"/>
                  </a:lnTo>
                  <a:lnTo>
                    <a:pt x="3" y="0"/>
                  </a:lnTo>
                  <a:lnTo>
                    <a:pt x="8964" y="36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2583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638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412875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699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188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381000" y="1800000"/>
            <a:ext cx="11429999" cy="933589"/>
          </a:xfrm>
        </p:spPr>
        <p:txBody>
          <a:bodyPr>
            <a:spAutoFit/>
          </a:bodyPr>
          <a:lstStyle>
            <a:lvl3pPr marL="536575" indent="-182563">
              <a:buFont typeface="Arial" panose="020B0604020202020204" pitchFamily="34" charset="0"/>
              <a:buChar char="-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71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0" y="1412875"/>
            <a:ext cx="11430000" cy="3046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943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2785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F90C63E5-5D21-47D3-BF0D-57C09B984129}"/>
              </a:ext>
            </a:extLst>
          </p:cNvPr>
          <p:cNvSpPr txBox="1"/>
          <p:nvPr userDrawn="1"/>
        </p:nvSpPr>
        <p:spPr>
          <a:xfrm>
            <a:off x="381000" y="6617410"/>
            <a:ext cx="272415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EEB2E99D-B14D-4A4A-866D-4CF62FB5E126}"/>
              </a:ext>
            </a:extLst>
          </p:cNvPr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67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11430000" cy="9335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80999" y="6617410"/>
            <a:ext cx="272176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7293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 © 2020 Accenture. All rights reserved.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189020" y="6617410"/>
            <a:ext cx="62198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9506F66D-3967-4DB8-9A18-525DE62AD90B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90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3" r:id="rId2"/>
    <p:sldLayoutId id="2147483676" r:id="rId3"/>
    <p:sldLayoutId id="2147483725" r:id="rId4"/>
    <p:sldLayoutId id="2147483711" r:id="rId5"/>
    <p:sldLayoutId id="2147483712" r:id="rId6"/>
    <p:sldLayoutId id="2147483726" r:id="rId7"/>
    <p:sldLayoutId id="2147483728" r:id="rId8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Graphik Black" panose="020B0A03030202060203" pitchFamily="34" charset="0"/>
          <a:ea typeface="+mj-ea"/>
          <a:cs typeface="+mj-cs"/>
        </a:defRPr>
      </a:lvl1pPr>
    </p:titleStyle>
    <p:bodyStyle>
      <a:lvl1pPr marL="177800" indent="-17780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•"/>
        <a:defRPr sz="2000" b="0" kern="1200" cap="none" baseline="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1pPr>
      <a:lvl2pPr marL="361950" indent="-184150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2pPr>
      <a:lvl3pPr marL="536575" indent="-174625" algn="l" defTabSz="914377" rtl="0" eaLnBrk="1" latinLnBrk="0" hangingPunct="1">
        <a:lnSpc>
          <a:spcPct val="9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Graphik" panose="020B0503030202060203" pitchFamily="34" charset="0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9" pos="240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020" userDrawn="1">
          <p15:clr>
            <a:srgbClr val="F26B43"/>
          </p15:clr>
        </p15:guide>
        <p15:guide id="18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sz="quarter" idx="4294967295"/>
          </p:nvPr>
        </p:nvSpPr>
        <p:spPr>
          <a:xfrm>
            <a:off x="5391148" y="2008518"/>
            <a:ext cx="6921620" cy="590931"/>
          </a:xfrm>
        </p:spPr>
        <p:txBody>
          <a:bodyPr wrap="square" anchor="b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n-US" sz="4800" dirty="0" smtClean="0">
                <a:solidFill>
                  <a:schemeClr val="tx1"/>
                </a:solidFill>
              </a:rPr>
              <a:t>Angular</a:t>
            </a:r>
            <a:endParaRPr lang="en-US" sz="4800" dirty="0">
              <a:solidFill>
                <a:schemeClr val="tx1"/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sz="quarter" idx="4294967295"/>
          </p:nvPr>
        </p:nvSpPr>
        <p:spPr>
          <a:xfrm>
            <a:off x="5642032" y="2567841"/>
            <a:ext cx="6419851" cy="393954"/>
          </a:xfrm>
        </p:spPr>
        <p:txBody>
          <a:bodyPr>
            <a:spAutoFit/>
          </a:bodyPr>
          <a:lstStyle/>
          <a:p>
            <a:pPr marL="0" indent="0">
              <a:lnSpc>
                <a:spcPct val="80000"/>
              </a:lnSpc>
              <a:spcBef>
                <a:spcPts val="0"/>
              </a:spcBef>
              <a:buNone/>
            </a:pPr>
            <a:r>
              <a:rPr lang="en-US" sz="3200" dirty="0" smtClean="0"/>
              <a:t>Authorization</a:t>
            </a:r>
            <a:endParaRPr lang="en-US" sz="3200" cap="all" dirty="0">
              <a:latin typeface="Graphik Black" panose="020B0A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10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JWT Token’s Structure</a:t>
            </a:r>
            <a:endParaRPr 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830998"/>
            <a:ext cx="11127177" cy="560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35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JWT Token’s Structure</a:t>
            </a:r>
            <a:endParaRPr 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418" y="830998"/>
            <a:ext cx="11398369" cy="5159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341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81000" y="380998"/>
            <a:ext cx="11430000" cy="900000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1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Lab schedul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07521" y="1370160"/>
            <a:ext cx="11430000" cy="3822942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accent1"/>
                </a:solidFill>
                <a:latin typeface="Graphik Black" panose="020B0A03030202060203" pitchFamily="34" charset="0"/>
                <a:ea typeface="+mj-ea"/>
                <a:cs typeface="+mj-cs"/>
              </a:defRPr>
            </a:lvl1pPr>
          </a:lstStyle>
          <a:p>
            <a:pPr marL="457200" indent="-45720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A</a:t>
            </a:r>
            <a:r>
              <a:rPr lang="en-US" b="1" dirty="0" smtClean="0">
                <a:solidFill>
                  <a:schemeClr val="bg1"/>
                </a:solidFill>
              </a:rPr>
              <a:t>dding User Id </a:t>
            </a:r>
            <a:r>
              <a:rPr lang="en-US" b="1" dirty="0">
                <a:solidFill>
                  <a:schemeClr val="bg1"/>
                </a:solidFill>
              </a:rPr>
              <a:t>to </a:t>
            </a:r>
            <a:r>
              <a:rPr lang="en-US" b="1" dirty="0" smtClean="0">
                <a:solidFill>
                  <a:schemeClr val="bg1"/>
                </a:solidFill>
              </a:rPr>
              <a:t>Posts.</a:t>
            </a:r>
            <a:endParaRPr lang="en-US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bg1"/>
                </a:solidFill>
              </a:rPr>
              <a:t>Protecting </a:t>
            </a:r>
            <a:r>
              <a:rPr lang="en-US" b="1" dirty="0">
                <a:solidFill>
                  <a:schemeClr val="bg1"/>
                </a:solidFill>
              </a:rPr>
              <a:t>Resources with </a:t>
            </a:r>
            <a:r>
              <a:rPr lang="en-US" b="1" dirty="0" smtClean="0">
                <a:solidFill>
                  <a:schemeClr val="bg1"/>
                </a:solidFill>
              </a:rPr>
              <a:t>Authorization.</a:t>
            </a:r>
            <a:endParaRPr lang="en-US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</a:rPr>
              <a:t>Passing the UserId to the </a:t>
            </a:r>
            <a:r>
              <a:rPr lang="en-US" b="1" dirty="0" smtClean="0">
                <a:solidFill>
                  <a:schemeClr val="bg1"/>
                </a:solidFill>
              </a:rPr>
              <a:t>frontend.</a:t>
            </a:r>
            <a:endParaRPr lang="en-US" dirty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</a:rPr>
              <a:t>Using the UserId on the frontend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211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introduction</a:t>
            </a:r>
            <a:endParaRPr 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177" y="991098"/>
            <a:ext cx="10550106" cy="440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28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introduction</a:t>
            </a:r>
            <a:endParaRPr 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551" y="1092152"/>
            <a:ext cx="10991572" cy="4144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373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JSON Web Token (JWT)</a:t>
            </a:r>
            <a:endParaRPr 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222" y="925183"/>
            <a:ext cx="10680941" cy="557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1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JWT CONTD..</a:t>
            </a:r>
            <a:endParaRPr 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7" y="888521"/>
            <a:ext cx="10524226" cy="525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401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JWT Token’s Usage</a:t>
            </a:r>
            <a:endParaRPr 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38" y="1074486"/>
            <a:ext cx="10679502" cy="370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642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JWT Token’s Structure</a:t>
            </a:r>
            <a:endParaRPr 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160577"/>
            <a:ext cx="11010433" cy="508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036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JWT Token’s Structure</a:t>
            </a:r>
            <a:endParaRPr 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830998"/>
            <a:ext cx="11127177" cy="560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244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00000_Acc_Engl">
  <a:themeElements>
    <a:clrScheme name="Custom 9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500C0"/>
      </a:hlink>
      <a:folHlink>
        <a:srgbClr val="004DFF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lnSpc>
            <a:spcPct val="90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33350" indent="-133350" algn="l">
          <a:lnSpc>
            <a:spcPct val="90000"/>
          </a:lnSpc>
          <a:spcBef>
            <a:spcPts val="300"/>
          </a:spcBef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CSB00000_Acc_Engl_Graphik.potx" id="{1A3265B6-8FB7-4BE7-A2AF-0C73A605FCAB}" vid="{AB8D690C-83A2-410D-A780-9DA2820399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AEE4454DBAFD4FA47858D8EAD29F27" ma:contentTypeVersion="2" ma:contentTypeDescription="Create a new document." ma:contentTypeScope="" ma:versionID="139db518db2b5af20678c1aa5c18d248">
  <xsd:schema xmlns:xsd="http://www.w3.org/2001/XMLSchema" xmlns:xs="http://www.w3.org/2001/XMLSchema" xmlns:p="http://schemas.microsoft.com/office/2006/metadata/properties" xmlns:ns2="12f20d0d-6b00-4e15-a91a-72ddf6ad8ee6" targetNamespace="http://schemas.microsoft.com/office/2006/metadata/properties" ma:root="true" ma:fieldsID="c343beb0faeeef44634e0ac92313efcd" ns2:_="">
    <xsd:import namespace="12f20d0d-6b00-4e15-a91a-72ddf6ad8e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f20d0d-6b00-4e15-a91a-72ddf6ad8e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9077B2-AE87-4925-A67B-FBB6F160B184}">
  <ds:schemaRefs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dcmitype/"/>
    <ds:schemaRef ds:uri="12f20d0d-6b00-4e15-a91a-72ddf6ad8ee6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194625D-395F-4ECB-9103-3AB55A05BF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D9320E-6576-4622-9A7D-6F940AA513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f20d0d-6b00-4e15-a91a-72ddf6ad8e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AN_NE_Training</Template>
  <TotalTime>1429</TotalTime>
  <Words>64</Words>
  <Application>Microsoft Office PowerPoint</Application>
  <PresentationFormat>Widescreen</PresentationFormat>
  <Paragraphs>31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Graphik</vt:lpstr>
      <vt:lpstr>Graphik Black</vt:lpstr>
      <vt:lpstr>CA00000_Acc_Engl</vt:lpstr>
      <vt:lpstr>think-cell Slide</vt:lpstr>
      <vt:lpstr>Angular</vt:lpstr>
      <vt:lpstr>PowerPoint Presentation</vt:lpstr>
      <vt:lpstr>introduction</vt:lpstr>
      <vt:lpstr>introduction</vt:lpstr>
      <vt:lpstr>JSON Web Token (JWT)</vt:lpstr>
      <vt:lpstr>JWT CONTD..</vt:lpstr>
      <vt:lpstr>JWT Token’s Usage</vt:lpstr>
      <vt:lpstr>JWT Token’s Structure</vt:lpstr>
      <vt:lpstr>JWT Token’s Structure</vt:lpstr>
      <vt:lpstr>JWT Token’s Structure</vt:lpstr>
      <vt:lpstr>JWT Token’s Structure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AN Stack</dc:title>
  <dc:subject>CSB</dc:subject>
  <dc:creator>Ajith Kumar A M</dc:creator>
  <cp:keywords/>
  <dc:description/>
  <cp:lastModifiedBy>chaitu t</cp:lastModifiedBy>
  <cp:revision>17</cp:revision>
  <dcterms:created xsi:type="dcterms:W3CDTF">2020-04-03T17:19:38Z</dcterms:created>
  <dcterms:modified xsi:type="dcterms:W3CDTF">2020-05-13T04:57:3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AEE4454DBAFD4FA47858D8EAD29F27</vt:lpwstr>
  </property>
</Properties>
</file>